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3"/>
  </p:notesMasterIdLst>
  <p:sldIdLst>
    <p:sldId id="261" r:id="rId2"/>
  </p:sldIdLst>
  <p:sldSz cx="9144000" cy="6858000" type="screen4x3"/>
  <p:notesSz cx="6858000" cy="9144000"/>
  <p:custDataLst>
    <p:tags r:id="rId4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106" autoAdjust="0"/>
    <p:restoredTop sz="94660"/>
  </p:normalViewPr>
  <p:slideViewPr>
    <p:cSldViewPr>
      <p:cViewPr>
        <p:scale>
          <a:sx n="50" d="100"/>
          <a:sy n="50" d="100"/>
        </p:scale>
        <p:origin x="-3756" y="-139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noProof="1"/>
            </a:lvl1pPr>
          </a:lstStyle>
          <a:p>
            <a:endParaRPr lang="zh-CN" altLang="zh-CN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noProof="1"/>
            </a:lvl1pPr>
          </a:lstStyle>
          <a:p>
            <a:endParaRPr lang="de-DE" altLang="zh-CN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1" smtClean="0"/>
              <a:t>Textmasterformate durch Klicken bearbeiten</a:t>
            </a:r>
          </a:p>
          <a:p>
            <a:pPr lvl="1"/>
            <a:r>
              <a:rPr lang="en-US" altLang="zh-CN" noProof="1" smtClean="0"/>
              <a:t>Zweite Ebene</a:t>
            </a:r>
          </a:p>
          <a:p>
            <a:pPr lvl="2"/>
            <a:r>
              <a:rPr lang="en-US" altLang="zh-CN" noProof="1" smtClean="0"/>
              <a:t>Dritte Ebene</a:t>
            </a:r>
          </a:p>
          <a:p>
            <a:pPr lvl="3"/>
            <a:r>
              <a:rPr lang="en-US" altLang="zh-CN" noProof="1" smtClean="0"/>
              <a:t>Vierte Ebene</a:t>
            </a:r>
          </a:p>
          <a:p>
            <a:pPr lvl="4"/>
            <a:r>
              <a:rPr lang="en-US" altLang="zh-CN" noProof="1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noProof="1"/>
            </a:lvl1pPr>
          </a:lstStyle>
          <a:p>
            <a:endParaRPr lang="zh-CN" altLang="zh-CN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noProof="1"/>
            </a:lvl1pPr>
          </a:lstStyle>
          <a:p>
            <a:fld id="{20D5BD1A-5A98-4AC9-A606-042E046E3237}" type="slidenum">
              <a:rPr altLang="zh-CN"/>
              <a:pPr/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58287384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6469151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5776489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89725" y="58738"/>
            <a:ext cx="2130425" cy="574357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295275" y="58738"/>
            <a:ext cx="6242050" cy="574357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1092954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7642988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25382559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295275" y="1489075"/>
            <a:ext cx="4186238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33913" y="1489075"/>
            <a:ext cx="4186237" cy="43132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8029755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页脚占位符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544770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069863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脚占位符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1249163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22580596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41984952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5275" y="1489075"/>
            <a:ext cx="8524875" cy="431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1" smtClean="0"/>
              <a:t>Textmasterformate durch Klicken bearbeiten</a:t>
            </a:r>
          </a:p>
          <a:p>
            <a:pPr lvl="1"/>
            <a:r>
              <a:rPr lang="en-US" altLang="zh-CN" noProof="1" smtClean="0"/>
              <a:t>Zweite Ebene</a:t>
            </a:r>
          </a:p>
          <a:p>
            <a:pPr lvl="2"/>
            <a:r>
              <a:rPr lang="en-US" altLang="zh-CN" noProof="1" smtClean="0"/>
              <a:t>Dritte Ebene</a:t>
            </a:r>
          </a:p>
          <a:p>
            <a:pPr lvl="3"/>
            <a:r>
              <a:rPr lang="en-US" altLang="zh-CN" noProof="1" smtClean="0"/>
              <a:t>Vierte Ebene</a:t>
            </a:r>
          </a:p>
          <a:p>
            <a:pPr lvl="4"/>
            <a:r>
              <a:rPr lang="en-US" altLang="zh-CN" noProof="1" smtClean="0"/>
              <a:t>Fünfte Eben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124200" y="6365875"/>
            <a:ext cx="28956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>
                <a:cs typeface="+mn-cs"/>
              </a:defRPr>
            </a:lvl1pPr>
          </a:lstStyle>
          <a:p>
            <a:endParaRPr lang="zh-CN" altLang="zh-CN"/>
          </a:p>
        </p:txBody>
      </p:sp>
      <p:sp>
        <p:nvSpPr>
          <p:cNvPr id="9220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300038" y="58738"/>
            <a:ext cx="8520112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1032" name="Rectangle 10"/>
          <p:cNvSpPr>
            <a:spLocks noChangeArrowheads="1"/>
          </p:cNvSpPr>
          <p:nvPr/>
        </p:nvSpPr>
        <p:spPr bwMode="gray">
          <a:xfrm>
            <a:off x="219075" y="6365875"/>
            <a:ext cx="13430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DE" sz="1000">
                <a:cs typeface="Arial" charset="0"/>
              </a:rPr>
              <a:t>Page </a:t>
            </a:r>
            <a:r>
              <a:rPr lang="de-DE" sz="1000">
                <a:cs typeface="Arial" charset="0"/>
                <a:sym typeface="Wingdings" pitchFamily="2" charset="2"/>
              </a:rPr>
              <a:t></a:t>
            </a:r>
            <a:r>
              <a:rPr lang="de-DE" sz="1000">
                <a:cs typeface="Arial" charset="0"/>
              </a:rPr>
              <a:t> </a:t>
            </a:r>
            <a:fld id="{2BE2E80E-FD3F-4594-93DB-495DE8EACE6F}" type="slidenum">
              <a:rPr lang="de-DE" sz="1000">
                <a:cs typeface="Arial" charset="0"/>
              </a:rPr>
              <a:pPr/>
              <a:t>‹#›</a:t>
            </a:fld>
            <a:endParaRPr lang="de-DE" sz="1000">
              <a:cs typeface="Arial" charset="0"/>
            </a:endParaRPr>
          </a:p>
        </p:txBody>
      </p:sp>
      <p:sp>
        <p:nvSpPr>
          <p:cNvPr id="1033" name="Rectangle 9"/>
          <p:cNvSpPr>
            <a:spLocks noChangeArrowheads="1"/>
          </p:cNvSpPr>
          <p:nvPr userDrawn="1"/>
        </p:nvSpPr>
        <p:spPr bwMode="gray">
          <a:xfrm>
            <a:off x="7173913" y="6156325"/>
            <a:ext cx="1646237" cy="37782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DDDDDD"/>
              </a:gs>
            </a:gsLst>
            <a:lin ang="0" scaled="1"/>
          </a:gradFill>
          <a:ln w="9525">
            <a:solidFill>
              <a:srgbClr val="969696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600" b="1">
                <a:cs typeface="Arial" charset="0"/>
              </a:rPr>
              <a:t>YOUR LOGO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180975" indent="-180975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44500" indent="-261938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720725" indent="-274638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987425" indent="-265113" algn="l" rtl="0" fontAlgn="base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12541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17113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1685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26257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082925" indent="-265113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106" name="Group 60"/>
          <p:cNvGrpSpPr>
            <a:grpSpLocks/>
          </p:cNvGrpSpPr>
          <p:nvPr/>
        </p:nvGrpSpPr>
        <p:grpSpPr bwMode="auto">
          <a:xfrm>
            <a:off x="0" y="3276600"/>
            <a:ext cx="9134475" cy="1676400"/>
            <a:chOff x="0" y="2086"/>
            <a:chExt cx="5760" cy="1056"/>
          </a:xfrm>
        </p:grpSpPr>
        <p:sp>
          <p:nvSpPr>
            <p:cNvPr id="47107" name="Rectangle 3"/>
            <p:cNvSpPr>
              <a:spLocks noChangeArrowheads="1"/>
            </p:cNvSpPr>
            <p:nvPr/>
          </p:nvSpPr>
          <p:spPr bwMode="gray">
            <a:xfrm>
              <a:off x="0" y="2325"/>
              <a:ext cx="5760" cy="817"/>
            </a:xfrm>
            <a:prstGeom prst="rect">
              <a:avLst/>
            </a:prstGeom>
            <a:gradFill rotWithShape="1"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90000" rIns="72000" bIns="90000" anchor="ctr"/>
            <a:lstStyle/>
            <a:p>
              <a:pPr algn="ctr" eaLnBrk="0" hangingPunct="0"/>
              <a:endParaRPr lang="zh-CN" altLang="zh-CN">
                <a:latin typeface="Calibri" pitchFamily="34" charset="0"/>
                <a:cs typeface="Arial" charset="0"/>
              </a:endParaRPr>
            </a:p>
          </p:txBody>
        </p:sp>
        <p:sp>
          <p:nvSpPr>
            <p:cNvPr id="47108" name="Rectangle 62"/>
            <p:cNvSpPr>
              <a:spLocks noChangeArrowheads="1"/>
            </p:cNvSpPr>
            <p:nvPr/>
          </p:nvSpPr>
          <p:spPr bwMode="gray">
            <a:xfrm flipV="1">
              <a:off x="0" y="2086"/>
              <a:ext cx="5760" cy="246"/>
            </a:xfrm>
            <a:prstGeom prst="rect">
              <a:avLst/>
            </a:prstGeom>
            <a:gradFill rotWithShape="1">
              <a:gsLst>
                <a:gs pos="0">
                  <a:srgbClr val="DBDBDB"/>
                </a:gs>
                <a:gs pos="100000">
                  <a:srgbClr val="FFFFF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wrap="none" lIns="90000" tIns="90000" rIns="72000" bIns="90000" anchor="ctr"/>
            <a:lstStyle/>
            <a:p>
              <a:pPr algn="ctr" eaLnBrk="0" hangingPunct="0"/>
              <a:endParaRPr lang="zh-CN" altLang="zh-CN">
                <a:latin typeface="Calibri" pitchFamily="34" charset="0"/>
                <a:cs typeface="Arial" charset="0"/>
              </a:endParaRPr>
            </a:p>
          </p:txBody>
        </p:sp>
      </p:grpSp>
      <p:sp>
        <p:nvSpPr>
          <p:cNvPr id="33" name="Textfeld 7"/>
          <p:cNvSpPr txBox="1">
            <a:spLocks noChangeArrowheads="1"/>
          </p:cNvSpPr>
          <p:nvPr/>
        </p:nvSpPr>
        <p:spPr bwMode="gray">
          <a:xfrm>
            <a:off x="155575" y="174625"/>
            <a:ext cx="8988425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DE" sz="6000" b="1">
                <a:solidFill>
                  <a:srgbClr val="6B9B1A"/>
                </a:solidFill>
                <a:cs typeface="Arial" charset="0"/>
              </a:rPr>
              <a:t>PYRAMID</a:t>
            </a:r>
            <a:r>
              <a:rPr lang="de-DE" sz="6000">
                <a:solidFill>
                  <a:srgbClr val="595959"/>
                </a:solidFill>
                <a:cs typeface="Arial" charset="0"/>
              </a:rPr>
              <a:t>CHART</a:t>
            </a:r>
          </a:p>
        </p:txBody>
      </p:sp>
      <p:grpSp>
        <p:nvGrpSpPr>
          <p:cNvPr id="47110" name="Group 6"/>
          <p:cNvGrpSpPr>
            <a:grpSpLocks/>
          </p:cNvGrpSpPr>
          <p:nvPr/>
        </p:nvGrpSpPr>
        <p:grpSpPr bwMode="auto">
          <a:xfrm>
            <a:off x="4857750" y="2032000"/>
            <a:ext cx="3813175" cy="3284538"/>
            <a:chOff x="3060" y="1280"/>
            <a:chExt cx="2402" cy="2069"/>
          </a:xfrm>
        </p:grpSpPr>
        <p:sp>
          <p:nvSpPr>
            <p:cNvPr id="5" name="Trapezoid 4"/>
            <p:cNvSpPr>
              <a:spLocks noChangeArrowheads="1"/>
            </p:cNvSpPr>
            <p:nvPr/>
          </p:nvSpPr>
          <p:spPr bwMode="gray">
            <a:xfrm rot="10800000">
              <a:off x="3060" y="1280"/>
              <a:ext cx="2402" cy="708"/>
            </a:xfrm>
            <a:custGeom>
              <a:avLst/>
              <a:gdLst>
                <a:gd name="T0" fmla="*/ 1897654 w 3831129"/>
                <a:gd name="T1" fmla="*/ 0 h 1124694"/>
                <a:gd name="T2" fmla="*/ 327151 w 3831129"/>
                <a:gd name="T3" fmla="*/ 561603 h 1124694"/>
                <a:gd name="T4" fmla="*/ 1897654 w 3831129"/>
                <a:gd name="T5" fmla="*/ 1123206 h 1124694"/>
                <a:gd name="T6" fmla="*/ 3468155 w 3831129"/>
                <a:gd name="T7" fmla="*/ 561603 h 1124694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440318 w 3831129"/>
                <a:gd name="T13" fmla="*/ 129263 h 1124694"/>
                <a:gd name="T14" fmla="*/ 3390811 w 3831129"/>
                <a:gd name="T15" fmla="*/ 1124694 h 112469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831129" h="1124694">
                  <a:moveTo>
                    <a:pt x="0" y="1124694"/>
                  </a:moveTo>
                  <a:lnTo>
                    <a:pt x="660477" y="0"/>
                  </a:lnTo>
                  <a:lnTo>
                    <a:pt x="3170652" y="0"/>
                  </a:lnTo>
                  <a:lnTo>
                    <a:pt x="3831129" y="1124694"/>
                  </a:lnTo>
                  <a:close/>
                </a:path>
              </a:pathLst>
            </a:custGeom>
            <a:gradFill rotWithShape="1">
              <a:gsLst>
                <a:gs pos="0">
                  <a:srgbClr val="6B9B1A"/>
                </a:gs>
                <a:gs pos="100000">
                  <a:srgbClr val="4C7013"/>
                </a:gs>
              </a:gsLst>
              <a:lin ang="5400000" scaled="1"/>
            </a:gradFill>
            <a:ln w="9525" cap="flat" cmpd="sng" algn="ctr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en-US"/>
            </a:p>
          </p:txBody>
        </p:sp>
        <p:sp>
          <p:nvSpPr>
            <p:cNvPr id="47112" name="Trapezoid 5"/>
            <p:cNvSpPr>
              <a:spLocks noChangeArrowheads="1"/>
            </p:cNvSpPr>
            <p:nvPr/>
          </p:nvSpPr>
          <p:spPr bwMode="gray">
            <a:xfrm rot="10800000">
              <a:off x="3477" y="1987"/>
              <a:ext cx="1569" cy="709"/>
            </a:xfrm>
            <a:custGeom>
              <a:avLst/>
              <a:gdLst>
                <a:gd name="T0" fmla="*/ 1220577 w 2496364"/>
                <a:gd name="T1" fmla="*/ 0 h 1124694"/>
                <a:gd name="T2" fmla="*/ 322934 w 2496364"/>
                <a:gd name="T3" fmla="*/ 566576 h 1124694"/>
                <a:gd name="T4" fmla="*/ 1220577 w 2496364"/>
                <a:gd name="T5" fmla="*/ 1133153 h 1124694"/>
                <a:gd name="T6" fmla="*/ 2118213 w 2496364"/>
                <a:gd name="T7" fmla="*/ 566576 h 1124694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440318 w 2496364"/>
                <a:gd name="T13" fmla="*/ 198378 h 1124694"/>
                <a:gd name="T14" fmla="*/ 2056036 w 2496364"/>
                <a:gd name="T15" fmla="*/ 1124694 h 112469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96364" h="1124694">
                  <a:moveTo>
                    <a:pt x="0" y="1124694"/>
                  </a:moveTo>
                  <a:lnTo>
                    <a:pt x="660477" y="0"/>
                  </a:lnTo>
                  <a:lnTo>
                    <a:pt x="1835887" y="0"/>
                  </a:lnTo>
                  <a:lnTo>
                    <a:pt x="2496364" y="1124694"/>
                  </a:lnTo>
                  <a:close/>
                </a:path>
              </a:pathLst>
            </a:custGeom>
            <a:gradFill rotWithShape="1">
              <a:gsLst>
                <a:gs pos="0">
                  <a:srgbClr val="90BA45"/>
                </a:gs>
                <a:gs pos="100000">
                  <a:srgbClr val="6B9B1A"/>
                </a:gs>
              </a:gsLst>
              <a:lin ang="5400000" scaled="1"/>
            </a:gradFill>
            <a:ln w="9525" cap="flat" cmpd="sng" algn="ctr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zh-CN" altLang="en-US"/>
            </a:p>
          </p:txBody>
        </p:sp>
        <p:sp>
          <p:nvSpPr>
            <p:cNvPr id="7" name="Gleichschenkliges Dreieck 6"/>
            <p:cNvSpPr>
              <a:spLocks noChangeArrowheads="1"/>
            </p:cNvSpPr>
            <p:nvPr/>
          </p:nvSpPr>
          <p:spPr bwMode="gray">
            <a:xfrm rot="10800000">
              <a:off x="3892" y="2696"/>
              <a:ext cx="739" cy="653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B2CF7D"/>
                </a:gs>
                <a:gs pos="100000">
                  <a:srgbClr val="90BA45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anchor="ctr"/>
            <a:lstStyle/>
            <a:p>
              <a:pPr algn="ctr"/>
              <a:endParaRPr lang="zh-CN" altLang="zh-CN">
                <a:solidFill>
                  <a:srgbClr val="FFFFFF"/>
                </a:solidFill>
                <a:latin typeface="Calibri" pitchFamily="34" charset="0"/>
                <a:cs typeface="Arial" charset="0"/>
              </a:endParaRPr>
            </a:p>
          </p:txBody>
        </p:sp>
      </p:grpSp>
      <p:grpSp>
        <p:nvGrpSpPr>
          <p:cNvPr id="47114" name="Group 10"/>
          <p:cNvGrpSpPr>
            <a:grpSpLocks/>
          </p:cNvGrpSpPr>
          <p:nvPr/>
        </p:nvGrpSpPr>
        <p:grpSpPr bwMode="auto">
          <a:xfrm>
            <a:off x="576263" y="2000250"/>
            <a:ext cx="3822700" cy="3286125"/>
            <a:chOff x="363" y="1260"/>
            <a:chExt cx="2408" cy="2070"/>
          </a:xfrm>
        </p:grpSpPr>
        <p:sp>
          <p:nvSpPr>
            <p:cNvPr id="2" name="Trapezoid 4"/>
            <p:cNvSpPr>
              <a:spLocks noChangeArrowheads="1"/>
            </p:cNvSpPr>
            <p:nvPr/>
          </p:nvSpPr>
          <p:spPr bwMode="gray">
            <a:xfrm>
              <a:off x="363" y="2622"/>
              <a:ext cx="2408" cy="708"/>
            </a:xfrm>
            <a:custGeom>
              <a:avLst/>
              <a:gdLst>
                <a:gd name="T0" fmla="*/ 1907146 w 3831129"/>
                <a:gd name="T1" fmla="*/ 0 h 1124694"/>
                <a:gd name="T2" fmla="*/ 328787 w 3831129"/>
                <a:gd name="T3" fmla="*/ 561603 h 1124694"/>
                <a:gd name="T4" fmla="*/ 1907146 w 3831129"/>
                <a:gd name="T5" fmla="*/ 1123206 h 1124694"/>
                <a:gd name="T6" fmla="*/ 3485504 w 3831129"/>
                <a:gd name="T7" fmla="*/ 561603 h 1124694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440318 w 3831129"/>
                <a:gd name="T13" fmla="*/ 129263 h 1124694"/>
                <a:gd name="T14" fmla="*/ 3390811 w 3831129"/>
                <a:gd name="T15" fmla="*/ 1124694 h 112469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831129" h="1124694">
                  <a:moveTo>
                    <a:pt x="0" y="1124694"/>
                  </a:moveTo>
                  <a:lnTo>
                    <a:pt x="660477" y="0"/>
                  </a:lnTo>
                  <a:lnTo>
                    <a:pt x="3170652" y="0"/>
                  </a:lnTo>
                  <a:lnTo>
                    <a:pt x="3831129" y="1124694"/>
                  </a:lnTo>
                  <a:close/>
                </a:path>
              </a:pathLst>
            </a:custGeom>
            <a:gradFill rotWithShape="1">
              <a:gsLst>
                <a:gs pos="0">
                  <a:srgbClr val="6B9B1A"/>
                </a:gs>
                <a:gs pos="100000">
                  <a:srgbClr val="4C7013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endParaRPr lang="zh-CN" altLang="en-US"/>
            </a:p>
          </p:txBody>
        </p:sp>
        <p:sp>
          <p:nvSpPr>
            <p:cNvPr id="47116" name="Trapezoid 5"/>
            <p:cNvSpPr>
              <a:spLocks noChangeArrowheads="1"/>
            </p:cNvSpPr>
            <p:nvPr/>
          </p:nvSpPr>
          <p:spPr bwMode="gray">
            <a:xfrm>
              <a:off x="781" y="1913"/>
              <a:ext cx="1573" cy="709"/>
            </a:xfrm>
            <a:custGeom>
              <a:avLst/>
              <a:gdLst>
                <a:gd name="T0" fmla="*/ 1252057 w 2496364"/>
                <a:gd name="T1" fmla="*/ 0 h 1124694"/>
                <a:gd name="T2" fmla="*/ 331264 w 2496364"/>
                <a:gd name="T3" fmla="*/ 566576 h 1124694"/>
                <a:gd name="T4" fmla="*/ 1252057 w 2496364"/>
                <a:gd name="T5" fmla="*/ 1133153 h 1124694"/>
                <a:gd name="T6" fmla="*/ 2172848 w 2496364"/>
                <a:gd name="T7" fmla="*/ 566576 h 1124694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440308 w 2496364"/>
                <a:gd name="T13" fmla="*/ 198378 h 1124694"/>
                <a:gd name="T14" fmla="*/ 2056046 w 2496364"/>
                <a:gd name="T15" fmla="*/ 1124694 h 112469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96364" h="1124694">
                  <a:moveTo>
                    <a:pt x="0" y="1124694"/>
                  </a:moveTo>
                  <a:lnTo>
                    <a:pt x="660477" y="0"/>
                  </a:lnTo>
                  <a:lnTo>
                    <a:pt x="1835887" y="0"/>
                  </a:lnTo>
                  <a:lnTo>
                    <a:pt x="2496364" y="1124694"/>
                  </a:lnTo>
                  <a:close/>
                </a:path>
              </a:pathLst>
            </a:custGeom>
            <a:gradFill rotWithShape="1">
              <a:gsLst>
                <a:gs pos="0">
                  <a:srgbClr val="90BA45"/>
                </a:gs>
                <a:gs pos="100000">
                  <a:srgbClr val="6B9B1A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endParaRPr lang="zh-CN" altLang="en-US"/>
            </a:p>
          </p:txBody>
        </p:sp>
        <p:sp>
          <p:nvSpPr>
            <p:cNvPr id="4" name="Gleichschenkliges Dreieck 6"/>
            <p:cNvSpPr>
              <a:spLocks noChangeArrowheads="1"/>
            </p:cNvSpPr>
            <p:nvPr/>
          </p:nvSpPr>
          <p:spPr bwMode="gray">
            <a:xfrm>
              <a:off x="1198" y="1260"/>
              <a:ext cx="739" cy="653"/>
            </a:xfrm>
            <a:prstGeom prst="triangle">
              <a:avLst>
                <a:gd name="adj" fmla="val 50000"/>
              </a:avLst>
            </a:prstGeom>
            <a:gradFill rotWithShape="1">
              <a:gsLst>
                <a:gs pos="0">
                  <a:srgbClr val="B2CF7D"/>
                </a:gs>
                <a:gs pos="100000">
                  <a:srgbClr val="90BA45"/>
                </a:gs>
              </a:gsLst>
              <a:lin ang="5400000" scaled="1"/>
            </a:gra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endParaRPr lang="zh-CN" altLang="zh-CN">
                <a:solidFill>
                  <a:srgbClr val="FFFFFF"/>
                </a:solidFill>
                <a:latin typeface="Calibri" pitchFamily="34" charset="0"/>
                <a:cs typeface="Arial" charset="0"/>
              </a:endParaRPr>
            </a:p>
          </p:txBody>
        </p:sp>
      </p:grpSp>
      <p:pic>
        <p:nvPicPr>
          <p:cNvPr id="47118" name="Picture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29"/>
          <a:stretch>
            <a:fillRect/>
          </a:stretch>
        </p:blipFill>
        <p:spPr bwMode="gray">
          <a:xfrm>
            <a:off x="0" y="5245100"/>
            <a:ext cx="5754688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19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781675" y="5289550"/>
            <a:ext cx="196532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7120" name="Group 16"/>
          <p:cNvGrpSpPr>
            <a:grpSpLocks/>
          </p:cNvGrpSpPr>
          <p:nvPr/>
        </p:nvGrpSpPr>
        <p:grpSpPr bwMode="auto">
          <a:xfrm>
            <a:off x="1236663" y="2592388"/>
            <a:ext cx="2501900" cy="2192337"/>
            <a:chOff x="779" y="1633"/>
            <a:chExt cx="1576" cy="1381"/>
          </a:xfrm>
        </p:grpSpPr>
        <p:sp>
          <p:nvSpPr>
            <p:cNvPr id="47121" name="Text Box 19"/>
            <p:cNvSpPr txBox="1">
              <a:spLocks noChangeArrowheads="1"/>
            </p:cNvSpPr>
            <p:nvPr/>
          </p:nvSpPr>
          <p:spPr bwMode="gray">
            <a:xfrm>
              <a:off x="779" y="2880"/>
              <a:ext cx="157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en-US" altLang="zh-CN" sz="1400" b="1" noProof="1">
                  <a:solidFill>
                    <a:schemeClr val="bg1"/>
                  </a:solidFill>
                  <a:cs typeface="Arial" charset="0"/>
                </a:rPr>
                <a:t>This is a placeholder text. </a:t>
              </a:r>
            </a:p>
          </p:txBody>
        </p:sp>
        <p:sp>
          <p:nvSpPr>
            <p:cNvPr id="47122" name="Text Box 19"/>
            <p:cNvSpPr txBox="1">
              <a:spLocks noChangeArrowheads="1"/>
            </p:cNvSpPr>
            <p:nvPr/>
          </p:nvSpPr>
          <p:spPr bwMode="gray">
            <a:xfrm>
              <a:off x="974" y="2240"/>
              <a:ext cx="1187" cy="2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en-US" altLang="zh-CN" sz="1400" b="1" noProof="1">
                  <a:solidFill>
                    <a:schemeClr val="bg1"/>
                  </a:solidFill>
                  <a:cs typeface="Arial" charset="0"/>
                </a:rPr>
                <a:t>This is a placeholder text. </a:t>
              </a:r>
            </a:p>
          </p:txBody>
        </p:sp>
        <p:sp>
          <p:nvSpPr>
            <p:cNvPr id="47123" name="Text Box 19"/>
            <p:cNvSpPr txBox="1">
              <a:spLocks noChangeArrowheads="1"/>
            </p:cNvSpPr>
            <p:nvPr/>
          </p:nvSpPr>
          <p:spPr bwMode="gray">
            <a:xfrm>
              <a:off x="1295" y="1633"/>
              <a:ext cx="544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de-DE" sz="1400" b="1">
                  <a:solidFill>
                    <a:schemeClr val="bg1"/>
                  </a:solidFill>
                  <a:cs typeface="Arial" charset="0"/>
                </a:rPr>
                <a:t>Text</a:t>
              </a:r>
              <a:endParaRPr lang="de-DE" altLang="zh-CN" sz="1400" b="1" noProof="1">
                <a:solidFill>
                  <a:schemeClr val="bg1"/>
                </a:solidFill>
                <a:cs typeface="Arial" charset="0"/>
              </a:endParaRPr>
            </a:p>
          </p:txBody>
        </p:sp>
      </p:grpSp>
      <p:grpSp>
        <p:nvGrpSpPr>
          <p:cNvPr id="47124" name="Group 20"/>
          <p:cNvGrpSpPr>
            <a:grpSpLocks/>
          </p:cNvGrpSpPr>
          <p:nvPr/>
        </p:nvGrpSpPr>
        <p:grpSpPr bwMode="auto">
          <a:xfrm>
            <a:off x="5407025" y="2474913"/>
            <a:ext cx="2714625" cy="2293937"/>
            <a:chOff x="3406" y="1559"/>
            <a:chExt cx="1710" cy="1445"/>
          </a:xfrm>
        </p:grpSpPr>
        <p:sp>
          <p:nvSpPr>
            <p:cNvPr id="47125" name="Text Box 19"/>
            <p:cNvSpPr txBox="1">
              <a:spLocks noChangeArrowheads="1"/>
            </p:cNvSpPr>
            <p:nvPr/>
          </p:nvSpPr>
          <p:spPr bwMode="gray">
            <a:xfrm>
              <a:off x="3989" y="2870"/>
              <a:ext cx="544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de-DE" sz="1400" b="1">
                  <a:solidFill>
                    <a:schemeClr val="bg1"/>
                  </a:solidFill>
                  <a:cs typeface="Arial" charset="0"/>
                </a:rPr>
                <a:t>T</a:t>
              </a:r>
              <a:r>
                <a:rPr lang="de-DE" altLang="zh-CN" sz="1400" b="1" noProof="1">
                  <a:solidFill>
                    <a:schemeClr val="bg1"/>
                  </a:solidFill>
                  <a:cs typeface="Arial" charset="0"/>
                </a:rPr>
                <a:t>ext</a:t>
              </a:r>
            </a:p>
          </p:txBody>
        </p:sp>
        <p:sp>
          <p:nvSpPr>
            <p:cNvPr id="47126" name="Text Box 19"/>
            <p:cNvSpPr txBox="1">
              <a:spLocks noChangeArrowheads="1"/>
            </p:cNvSpPr>
            <p:nvPr/>
          </p:nvSpPr>
          <p:spPr bwMode="gray">
            <a:xfrm>
              <a:off x="3406" y="1559"/>
              <a:ext cx="1710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en-US" altLang="zh-CN" sz="1400" b="1" noProof="1">
                  <a:solidFill>
                    <a:schemeClr val="bg1"/>
                  </a:solidFill>
                  <a:cs typeface="Arial" charset="0"/>
                </a:rPr>
                <a:t>This is a placeholder text. </a:t>
              </a:r>
            </a:p>
          </p:txBody>
        </p:sp>
        <p:sp>
          <p:nvSpPr>
            <p:cNvPr id="47127" name="Text Box 19"/>
            <p:cNvSpPr txBox="1">
              <a:spLocks noChangeArrowheads="1"/>
            </p:cNvSpPr>
            <p:nvPr/>
          </p:nvSpPr>
          <p:spPr bwMode="gray">
            <a:xfrm>
              <a:off x="3668" y="2208"/>
              <a:ext cx="1187" cy="2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01688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01688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01688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40000"/>
                </a:spcAft>
              </a:pPr>
              <a:r>
                <a:rPr lang="en-US" altLang="zh-CN" sz="1400" b="1" noProof="1">
                  <a:solidFill>
                    <a:schemeClr val="bg1"/>
                  </a:solidFill>
                  <a:cs typeface="Arial" charset="0"/>
                </a:rPr>
                <a:t>This is a placeholder text. </a:t>
              </a:r>
            </a:p>
          </p:txBody>
        </p:sp>
      </p:grpSp>
      <p:sp>
        <p:nvSpPr>
          <p:cNvPr id="47128" name="Line 43"/>
          <p:cNvSpPr>
            <a:spLocks noChangeShapeType="1"/>
          </p:cNvSpPr>
          <p:nvPr/>
        </p:nvSpPr>
        <p:spPr bwMode="gray">
          <a:xfrm>
            <a:off x="3595688" y="3660775"/>
            <a:ext cx="2016125" cy="0"/>
          </a:xfrm>
          <a:prstGeom prst="line">
            <a:avLst/>
          </a:prstGeom>
          <a:noFill/>
          <a:ln w="38100">
            <a:solidFill>
              <a:srgbClr val="AEAEAE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7129" name="Text Box 25"/>
          <p:cNvSpPr txBox="1">
            <a:spLocks noChangeArrowheads="1"/>
          </p:cNvSpPr>
          <p:nvPr/>
        </p:nvSpPr>
        <p:spPr bwMode="gray">
          <a:xfrm>
            <a:off x="4398963" y="3808413"/>
            <a:ext cx="1519237" cy="1244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lnSpc>
                <a:spcPct val="90000"/>
              </a:lnSpc>
              <a:spcAft>
                <a:spcPct val="20000"/>
              </a:spcAft>
              <a:buClr>
                <a:srgbClr val="292929"/>
              </a:buClr>
              <a:buFont typeface="Wingdings" pitchFamily="2" charset="2"/>
              <a:buNone/>
            </a:pPr>
            <a:r>
              <a:rPr lang="en-US" sz="1400">
                <a:cs typeface="Arial" charset="0"/>
              </a:rPr>
              <a:t>This text can be replaced with your own text. All phrases can be replaced with your own text </a:t>
            </a:r>
            <a:endParaRPr lang="en-US" altLang="zh-CN" sz="1400" noProof="1">
              <a:cs typeface="Arial" charset="0"/>
            </a:endParaRPr>
          </a:p>
        </p:txBody>
      </p:sp>
      <p:sp>
        <p:nvSpPr>
          <p:cNvPr id="62" name="Text Box 13"/>
          <p:cNvSpPr txBox="1">
            <a:spLocks noChangeArrowheads="1"/>
          </p:cNvSpPr>
          <p:nvPr/>
        </p:nvSpPr>
        <p:spPr bwMode="gray">
          <a:xfrm>
            <a:off x="323850" y="6146800"/>
            <a:ext cx="23256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01688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01688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01688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01688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01688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016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ct val="40000"/>
              </a:spcAft>
            </a:pPr>
            <a:r>
              <a:rPr lang="en-US" altLang="zh-CN" sz="1200" noProof="1">
                <a:solidFill>
                  <a:srgbClr val="7F7F7F"/>
                </a:solidFill>
                <a:cs typeface="Arial" charset="0"/>
              </a:rPr>
              <a:t>For PowerPoint  97-20</a:t>
            </a:r>
            <a:r>
              <a:rPr lang="de-DE" sz="1200">
                <a:solidFill>
                  <a:srgbClr val="7F7F7F"/>
                </a:solidFill>
                <a:cs typeface="Arial" charset="0"/>
              </a:rPr>
              <a:t>10</a:t>
            </a:r>
            <a:endParaRPr lang="de-DE" altLang="zh-CN" sz="1200" noProof="1">
              <a:solidFill>
                <a:srgbClr val="7F7F7F"/>
              </a:solidFill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"/>
  <p:tag name="ARTICULATE_PROJECT_OPEN" val="0"/>
  <p:tag name="ISPRING_RESOURCE_PATHS_HASH_2" val="4f8114aee05184214c9ffb915cd3436a0bf7672"/>
</p:tagLst>
</file>

<file path=ppt/theme/theme1.xml><?xml version="1.0" encoding="utf-8"?>
<a:theme xmlns:a="http://schemas.openxmlformats.org/drawingml/2006/main" name="1_Standarddesign">
  <a:themeElements>
    <a:clrScheme name="1_Standarddesign 1">
      <a:dk1>
        <a:srgbClr val="000000"/>
      </a:dk1>
      <a:lt1>
        <a:srgbClr val="FFFFFF"/>
      </a:lt1>
      <a:dk2>
        <a:srgbClr val="004074"/>
      </a:dk2>
      <a:lt2>
        <a:srgbClr val="FEA501"/>
      </a:lt2>
      <a:accent1>
        <a:srgbClr val="0061B2"/>
      </a:accent1>
      <a:accent2>
        <a:srgbClr val="2A79D0"/>
      </a:accent2>
      <a:accent3>
        <a:srgbClr val="FFFFFF"/>
      </a:accent3>
      <a:accent4>
        <a:srgbClr val="000000"/>
      </a:accent4>
      <a:accent5>
        <a:srgbClr val="AAB7D5"/>
      </a:accent5>
      <a:accent6>
        <a:srgbClr val="256DBC"/>
      </a:accent6>
      <a:hlink>
        <a:srgbClr val="69A2E1"/>
      </a:hlink>
      <a:folHlink>
        <a:srgbClr val="9DC2EB"/>
      </a:folHlink>
    </a:clrScheme>
    <a:fontScheme name="1_Standard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tandarddesign 1">
        <a:dk1>
          <a:srgbClr val="000000"/>
        </a:dk1>
        <a:lt1>
          <a:srgbClr val="FFFFFF"/>
        </a:lt1>
        <a:dk2>
          <a:srgbClr val="004074"/>
        </a:dk2>
        <a:lt2>
          <a:srgbClr val="FEA501"/>
        </a:lt2>
        <a:accent1>
          <a:srgbClr val="0061B2"/>
        </a:accent1>
        <a:accent2>
          <a:srgbClr val="2A79D0"/>
        </a:accent2>
        <a:accent3>
          <a:srgbClr val="FFFFFF"/>
        </a:accent3>
        <a:accent4>
          <a:srgbClr val="000000"/>
        </a:accent4>
        <a:accent5>
          <a:srgbClr val="AAB7D5"/>
        </a:accent5>
        <a:accent6>
          <a:srgbClr val="256DBC"/>
        </a:accent6>
        <a:hlink>
          <a:srgbClr val="69A2E1"/>
        </a:hlink>
        <a:folHlink>
          <a:srgbClr val="9DC2E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主题​​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50</Words>
  <Application>Microsoft Office PowerPoint</Application>
  <PresentationFormat>全屏显示(4:3)</PresentationFormat>
  <Paragraphs>9</Paragraphs>
  <Slides>1</Slides>
  <Notes>0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1</vt:i4>
      </vt:variant>
    </vt:vector>
  </HeadingPairs>
  <TitlesOfParts>
    <vt:vector size="2" baseType="lpstr">
      <vt:lpstr>1_Standarddesign</vt:lpstr>
      <vt:lpstr>PowerPoint 演示文稿</vt:lpstr>
    </vt:vector>
  </TitlesOfParts>
  <Company>Inscale GmbH</Company>
  <LinksUpToDate>false</LinksUpToDate>
  <SharedDoc>false</SharedDoc>
  <HyperlinkBase>www.presentationload.com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设计教程网分享</dc:title>
  <dc:subject>DG-递进</dc:subject>
  <dc:creator>PPTfans.cn</dc:creator>
  <cp:keywords>TZ-手动增减;XG-细微;KJ-平面;DH-静态</cp:keywords>
  <dc:description>PPTfans.cn</dc:description>
  <cp:revision>20</cp:revision>
  <dcterms:created xsi:type="dcterms:W3CDTF">2010-05-28T10:02:33Z</dcterms:created>
  <dcterms:modified xsi:type="dcterms:W3CDTF">2012-08-15T10:19:49Z</dcterms:modified>
  <cp:category>UDi-逻辑图示</cp:category>
</cp:coreProperties>
</file>